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7"/>
  </p:notesMasterIdLst>
  <p:sldIdLst>
    <p:sldId id="256" r:id="rId2"/>
    <p:sldId id="346" r:id="rId3"/>
    <p:sldId id="328" r:id="rId4"/>
    <p:sldId id="314" r:id="rId5"/>
    <p:sldId id="316" r:id="rId6"/>
    <p:sldId id="352" r:id="rId7"/>
    <p:sldId id="354" r:id="rId8"/>
    <p:sldId id="355" r:id="rId9"/>
    <p:sldId id="356" r:id="rId10"/>
    <p:sldId id="329" r:id="rId11"/>
    <p:sldId id="318" r:id="rId12"/>
    <p:sldId id="349" r:id="rId13"/>
    <p:sldId id="321" r:id="rId14"/>
    <p:sldId id="353" r:id="rId15"/>
    <p:sldId id="324" r:id="rId16"/>
  </p:sldIdLst>
  <p:sldSz cx="12192000" cy="6858000"/>
  <p:notesSz cx="6858000" cy="9144000"/>
  <p:defaultTextStyle>
    <a:defPPr>
      <a:defRPr lang="lv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D9FF"/>
    <a:srgbClr val="C59EE2"/>
    <a:srgbClr val="8F00FF"/>
    <a:srgbClr val="DDAFFF"/>
    <a:srgbClr val="E7ABE8"/>
    <a:srgbClr val="484F96"/>
    <a:srgbClr val="4569AB"/>
    <a:srgbClr val="6771CD"/>
    <a:srgbClr val="A9A9A9"/>
    <a:srgbClr val="C3C3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96" autoAdjust="0"/>
    <p:restoredTop sz="94660"/>
  </p:normalViewPr>
  <p:slideViewPr>
    <p:cSldViewPr snapToGrid="0">
      <p:cViewPr varScale="1">
        <p:scale>
          <a:sx n="79" d="100"/>
          <a:sy n="79" d="100"/>
        </p:scale>
        <p:origin x="51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13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График роста и бюджет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13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12156589417436"/>
          <c:y val="0.11069396907868401"/>
          <c:w val="0.86730145286194205"/>
          <c:h val="0.76576124006770796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гноз дохода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-350000</c:v>
                </c:pt>
                <c:pt idx="1">
                  <c:v>100000</c:v>
                </c:pt>
                <c:pt idx="2">
                  <c:v>7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C0-4E53-837E-F92AA1CAECB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ноз расходов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70000</c:v>
                </c:pt>
                <c:pt idx="1">
                  <c:v>200000</c:v>
                </c:pt>
                <c:pt idx="2">
                  <c:v>3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C0-4E53-837E-F92AA1CAECB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ибыль/Убыток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Лист1!$A$2:$A$4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-350000</c:v>
                </c:pt>
                <c:pt idx="1">
                  <c:v>100000</c:v>
                </c:pt>
                <c:pt idx="2">
                  <c:v>7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4C0-4E53-837E-F92AA1CAE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0036272"/>
        <c:axId val="470036632"/>
      </c:lineChart>
      <c:catAx>
        <c:axId val="47003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0036632"/>
        <c:crosses val="autoZero"/>
        <c:auto val="1"/>
        <c:lblAlgn val="ctr"/>
        <c:lblOffset val="100"/>
        <c:noMultiLvlLbl val="0"/>
      </c:catAx>
      <c:valAx>
        <c:axId val="470036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0036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uri="{0b15fc19-7d7d-44ad-8c2d-2c3a37ce22c3}">
        <chartProps xmlns="https://web.wps.cn/et/2018/main" chartId="{59cca102-832e-4157-8ef0-3bd5534cb5ba}"/>
      </c:ext>
    </c:extLst>
  </c:chart>
  <c:spPr>
    <a:noFill/>
    <a:ln>
      <a:noFill/>
    </a:ln>
    <a:effectLst/>
  </c:spPr>
  <c:txPr>
    <a:bodyPr/>
    <a:lstStyle/>
    <a:p>
      <a:pPr>
        <a:defRPr lang="en-US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DCF9D1-763B-4EC7-BEA4-94398E13465F}" type="datetimeFigureOut">
              <a:rPr lang="ru-RU" smtClean="0"/>
              <a:t>30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146814-AECC-4282-8F9C-894C737F8CDD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lv-LV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v-LV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lv-LV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lv-LV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7FE446-3B14-44CE-A438-78CF4F994BFB}" type="datetimeFigureOut">
              <a:rPr lang="lv-LV" smtClean="0"/>
              <a:t>30.11.2025</a:t>
            </a:fld>
            <a:endParaRPr lang="lv-LV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CFD3E-8490-412B-BCE8-0CFE735DBE60}" type="slidenum">
              <a:rPr lang="lv-LV" smtClean="0"/>
              <a:t>‹#›</a:t>
            </a:fld>
            <a:endParaRPr lang="lv-LV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v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jpeg"/><Relationship Id="rId7" Type="http://schemas.openxmlformats.org/officeDocument/2006/relationships/image" Target="../media/image1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image" Target="../media/image10.jpeg"/><Relationship Id="rId9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79C9446-D671-C03F-AD74-F0B0E560D828}"/>
              </a:ext>
            </a:extLst>
          </p:cNvPr>
          <p:cNvSpPr/>
          <p:nvPr/>
        </p:nvSpPr>
        <p:spPr>
          <a:xfrm>
            <a:off x="6741268" y="0"/>
            <a:ext cx="5450732" cy="3570051"/>
          </a:xfrm>
          <a:prstGeom prst="rect">
            <a:avLst/>
          </a:prstGeom>
          <a:solidFill>
            <a:srgbClr val="DDA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Текст 2"/>
          <p:cNvSpPr txBox="1"/>
          <p:nvPr/>
        </p:nvSpPr>
        <p:spPr>
          <a:xfrm>
            <a:off x="413274" y="771525"/>
            <a:ext cx="5577951" cy="3295649"/>
          </a:xfrm>
          <a:prstGeom prst="rect">
            <a:avLst/>
          </a:prstGeom>
          <a:ln w="12700">
            <a:miter lim="400000"/>
          </a:ln>
        </p:spPr>
        <p:txBody>
          <a:bodyPr lIns="45718" tIns="45718" rIns="45718" bIns="45718" anchor="ctr">
            <a:normAutofit fontScale="47500" lnSpcReduction="20000"/>
          </a:bodyPr>
          <a:lstStyle/>
          <a:p>
            <a:pPr defTabSz="877570">
              <a:lnSpc>
                <a:spcPct val="110000"/>
              </a:lnSpc>
              <a:defRPr sz="2300">
                <a:solidFill>
                  <a:srgbClr val="8F00FF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rPr lang="ru-RU" sz="9000" b="1" dirty="0">
                <a:solidFill>
                  <a:schemeClr val="accent1">
                    <a:lumMod val="50000"/>
                  </a:schemeClr>
                </a:solidFill>
                <a:latin typeface="+mj-lt"/>
                <a:ea typeface="Gilroy-ExtraBold"/>
                <a:cs typeface="Gilroy-ExtraBold"/>
                <a:sym typeface="Gilroy-Light"/>
              </a:rPr>
              <a:t>Технологическая цифровизация городской среды</a:t>
            </a:r>
          </a:p>
          <a:p>
            <a:pPr defTabSz="877570">
              <a:lnSpc>
                <a:spcPct val="110000"/>
              </a:lnSpc>
              <a:defRPr sz="2300">
                <a:solidFill>
                  <a:srgbClr val="8F00FF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endParaRPr lang="ru-RU" sz="5400" b="1" dirty="0">
              <a:solidFill>
                <a:schemeClr val="accent1">
                  <a:lumMod val="50000"/>
                </a:schemeClr>
              </a:solidFill>
              <a:latin typeface="+mj-lt"/>
              <a:ea typeface="Gilroy-ExtraBold"/>
              <a:cs typeface="Gilroy-ExtraBold"/>
              <a:sym typeface="Gilroy-Light"/>
            </a:endParaRPr>
          </a:p>
          <a:p>
            <a:pPr marL="342900" indent="-342900" defTabSz="877570">
              <a:lnSpc>
                <a:spcPct val="150000"/>
              </a:lnSpc>
              <a:buFont typeface="Arial" panose="020B0604020202020204" pitchFamily="34" charset="0"/>
              <a:buChar char="•"/>
              <a:defRPr sz="2300">
                <a:solidFill>
                  <a:srgbClr val="8F00FF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rPr lang="ru-RU" sz="3600" dirty="0">
                <a:latin typeface="Gilroy-Light"/>
                <a:ea typeface="Gilroy-ExtraBold"/>
                <a:cs typeface="Gilroy-ExtraBold"/>
                <a:sym typeface="Gilroy-Light"/>
              </a:rPr>
              <a:t>ТРЕК: ПРЕДПРИНИМАТЕЛЬСКИЙ</a:t>
            </a:r>
            <a:endParaRPr sz="8700" dirty="0">
              <a:latin typeface="Gilroy-ExtraBold"/>
              <a:ea typeface="Gilroy-ExtraBold"/>
              <a:cs typeface="Gilroy-ExtraBold"/>
              <a:sym typeface="Gilroy-ExtraBold"/>
            </a:endParaRPr>
          </a:p>
          <a:p>
            <a:pPr marL="342900" indent="-342900" defTabSz="877570">
              <a:lnSpc>
                <a:spcPct val="150000"/>
              </a:lnSpc>
              <a:buFont typeface="Arial" panose="020B0604020202020204" pitchFamily="34" charset="0"/>
              <a:buChar char="•"/>
              <a:defRPr sz="2300">
                <a:solidFill>
                  <a:srgbClr val="1B1B1B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rPr lang="ru-RU" sz="3600" dirty="0"/>
              <a:t>РУКОВОДИТЕЛЬ: БОБОК А.А.</a:t>
            </a:r>
            <a:endParaRPr sz="3600" dirty="0"/>
          </a:p>
        </p:txBody>
      </p:sp>
      <p:pic>
        <p:nvPicPr>
          <p:cNvPr id="153" name="Рисунок 22" descr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729" y="-9876106"/>
            <a:ext cx="4128544" cy="58061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410430" y="4067174"/>
            <a:ext cx="6058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Акселерационная программа: Центр развития студенческого предпринимательств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789F67-19C4-76AF-78C3-0C20815098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80311" y="0"/>
            <a:ext cx="4398415" cy="32932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5821A02-70FF-3143-8D88-AAA2AACCF0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68" y="3564724"/>
            <a:ext cx="5450732" cy="329327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129223" y="156919"/>
            <a:ext cx="2224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Бизнес-модель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791937" y="683098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Овал 6"/>
          <p:cNvSpPr/>
          <p:nvPr/>
        </p:nvSpPr>
        <p:spPr>
          <a:xfrm>
            <a:off x="134248" y="2847820"/>
            <a:ext cx="1389752" cy="118073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ООО «Умный город»</a:t>
            </a:r>
            <a:endParaRPr lang="lv-LV" dirty="0"/>
          </a:p>
        </p:txBody>
      </p:sp>
      <p:sp>
        <p:nvSpPr>
          <p:cNvPr id="10" name="Прямоугольник: скругленные углы 9"/>
          <p:cNvSpPr/>
          <p:nvPr/>
        </p:nvSpPr>
        <p:spPr>
          <a:xfrm>
            <a:off x="2700762" y="1071333"/>
            <a:ext cx="1399713" cy="6835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ТСЖ (ТОСы) и УК</a:t>
            </a:r>
            <a:endParaRPr lang="lv-LV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10"/>
          <p:cNvSpPr/>
          <p:nvPr/>
        </p:nvSpPr>
        <p:spPr>
          <a:xfrm>
            <a:off x="2308797" y="1873712"/>
            <a:ext cx="2183642" cy="160887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Строительные компании («Деловой партнер», «</a:t>
            </a:r>
            <a:r>
              <a:rPr lang="ru-RU" dirty="0" err="1">
                <a:solidFill>
                  <a:schemeClr val="tx1"/>
                </a:solidFill>
              </a:rPr>
              <a:t>Новстрой</a:t>
            </a:r>
            <a:r>
              <a:rPr lang="ru-RU" dirty="0">
                <a:solidFill>
                  <a:schemeClr val="tx1"/>
                </a:solidFill>
              </a:rPr>
              <a:t>» и т.д.)</a:t>
            </a:r>
            <a:endParaRPr lang="lv-LV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: скругленные углы 11"/>
          <p:cNvSpPr/>
          <p:nvPr/>
        </p:nvSpPr>
        <p:spPr>
          <a:xfrm>
            <a:off x="2416733" y="3601389"/>
            <a:ext cx="2075705" cy="16474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«Водоканал», «Газпром», «ТНС Энерго», «ТК Новгородская»,  провайдеры</a:t>
            </a:r>
            <a:endParaRPr lang="lv-LV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: скругленные углы 12"/>
          <p:cNvSpPr/>
          <p:nvPr/>
        </p:nvSpPr>
        <p:spPr>
          <a:xfrm>
            <a:off x="2416733" y="5330567"/>
            <a:ext cx="1967748" cy="1441708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БТ компании («Строй-капитал», «</a:t>
            </a:r>
            <a:r>
              <a:rPr lang="ru-RU" dirty="0" err="1">
                <a:solidFill>
                  <a:schemeClr val="tx1"/>
                </a:solidFill>
              </a:rPr>
              <a:t>Лориен</a:t>
            </a:r>
            <a:r>
              <a:rPr lang="ru-RU" dirty="0">
                <a:solidFill>
                  <a:schemeClr val="tx1"/>
                </a:solidFill>
              </a:rPr>
              <a:t>»)</a:t>
            </a:r>
            <a:endParaRPr lang="lv-LV" dirty="0">
              <a:solidFill>
                <a:schemeClr val="tx1"/>
              </a:solidFill>
            </a:endParaRPr>
          </a:p>
        </p:txBody>
      </p:sp>
      <p:cxnSp>
        <p:nvCxnSpPr>
          <p:cNvPr id="66" name="Прямая со стрелкой 65"/>
          <p:cNvCxnSpPr/>
          <p:nvPr/>
        </p:nvCxnSpPr>
        <p:spPr>
          <a:xfrm>
            <a:off x="4179476" y="1429375"/>
            <a:ext cx="517586" cy="0"/>
          </a:xfrm>
          <a:prstGeom prst="straightConnector1">
            <a:avLst/>
          </a:prstGeom>
          <a:ln w="5715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 flipV="1">
            <a:off x="1519662" y="2736857"/>
            <a:ext cx="618304" cy="269105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>
          <a:xfrm>
            <a:off x="4492438" y="6006842"/>
            <a:ext cx="451037" cy="0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>
            <a:off x="4604880" y="4429712"/>
            <a:ext cx="462420" cy="0"/>
          </a:xfrm>
          <a:prstGeom prst="straightConnector1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4604880" y="2849446"/>
            <a:ext cx="462420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>
            <a:off x="1110813" y="4159883"/>
            <a:ext cx="1197984" cy="1355867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 flipV="1">
            <a:off x="1096920" y="1429375"/>
            <a:ext cx="1471621" cy="1408445"/>
          </a:xfrm>
          <a:prstGeom prst="straightConnector1">
            <a:avLst/>
          </a:prstGeom>
          <a:ln w="5715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>
            <a:off x="1604317" y="3631336"/>
            <a:ext cx="533649" cy="220703"/>
          </a:xfrm>
          <a:prstGeom prst="straightConnector1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750" y="0"/>
            <a:ext cx="1861924" cy="673300"/>
          </a:xfrm>
          <a:prstGeom prst="rect">
            <a:avLst/>
          </a:prstGeom>
        </p:spPr>
      </p:pic>
      <p:sp>
        <p:nvSpPr>
          <p:cNvPr id="22" name="Прямоугольник: скругленные углы 21"/>
          <p:cNvSpPr/>
          <p:nvPr/>
        </p:nvSpPr>
        <p:spPr>
          <a:xfrm>
            <a:off x="4801900" y="747613"/>
            <a:ext cx="4210176" cy="144809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Информация об объекте (площадь, кол-во жилых помещений, занимаемые в здании, имеет ли объект помещения вертикального смешанного использования</a:t>
            </a:r>
          </a:p>
        </p:txBody>
      </p:sp>
      <p:sp>
        <p:nvSpPr>
          <p:cNvPr id="25" name="Прямоугольник: скругленные углы 24"/>
          <p:cNvSpPr/>
          <p:nvPr/>
        </p:nvSpPr>
        <p:spPr>
          <a:xfrm>
            <a:off x="5129223" y="2301015"/>
            <a:ext cx="3832335" cy="124825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Привлечение компаний для дальнейшего сотрудничества с ТСЖ, УК, ЖК-компаниями</a:t>
            </a:r>
          </a:p>
        </p:txBody>
      </p:sp>
      <p:sp>
        <p:nvSpPr>
          <p:cNvPr id="26" name="Прямоугольник: скругленные углы 25"/>
          <p:cNvSpPr/>
          <p:nvPr/>
        </p:nvSpPr>
        <p:spPr>
          <a:xfrm>
            <a:off x="5152466" y="3657566"/>
            <a:ext cx="3809092" cy="161749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Информация о коммуникациях и инженерных системах, управлении жилищно-коммунальным хозяйством</a:t>
            </a:r>
          </a:p>
        </p:txBody>
      </p:sp>
      <p:sp>
        <p:nvSpPr>
          <p:cNvPr id="27" name="Прямоугольник: скругленные углы 26"/>
          <p:cNvSpPr/>
          <p:nvPr/>
        </p:nvSpPr>
        <p:spPr>
          <a:xfrm>
            <a:off x="5051433" y="5416989"/>
            <a:ext cx="3910126" cy="1268863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овлечение БТ компаний в облагораживании</a:t>
            </a:r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9116914" y="1306798"/>
            <a:ext cx="1189136" cy="1564611"/>
          </a:xfrm>
          <a:prstGeom prst="straightConnector1">
            <a:avLst/>
          </a:prstGeom>
          <a:ln w="5715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9116914" y="3024382"/>
            <a:ext cx="420225" cy="296609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V="1">
            <a:off x="9046724" y="4111534"/>
            <a:ext cx="417674" cy="237214"/>
          </a:xfrm>
          <a:prstGeom prst="straightConnector1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V="1">
            <a:off x="9116914" y="4612594"/>
            <a:ext cx="1074836" cy="1245281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Овал 43"/>
          <p:cNvSpPr/>
          <p:nvPr/>
        </p:nvSpPr>
        <p:spPr>
          <a:xfrm>
            <a:off x="9587657" y="2966933"/>
            <a:ext cx="2542277" cy="160386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Посредническая компания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393756" y="37061"/>
            <a:ext cx="18137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Конкурен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640732" y="498726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341891"/>
              </p:ext>
            </p:extLst>
          </p:nvPr>
        </p:nvGraphicFramePr>
        <p:xfrm>
          <a:off x="186244" y="627270"/>
          <a:ext cx="7437575" cy="61824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25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17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32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72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</a:rPr>
                        <a:t>Название компании/продукта проекта</a:t>
                      </a:r>
                      <a:endParaRPr lang="ru-RU" sz="1400" b="1" kern="1200" dirty="0">
                        <a:solidFill>
                          <a:srgbClr val="000000"/>
                        </a:solidFill>
                      </a:endParaRPr>
                    </a:p>
                    <a:p>
                      <a:pPr algn="l"/>
                      <a:endParaRPr lang="ru-RU" sz="14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solidFill>
                      <a:srgbClr val="C59EE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ООО «</a:t>
                      </a:r>
                      <a:r>
                        <a:rPr lang="ru-RU" sz="1400" b="1" dirty="0" err="1"/>
                        <a:t>Геокадастр</a:t>
                      </a:r>
                      <a:r>
                        <a:rPr lang="ru-RU" sz="1400" b="1" dirty="0"/>
                        <a:t>»</a:t>
                      </a:r>
                      <a:endParaRPr lang="ru-RU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532" marR="60532" marT="29614" marB="29614" anchor="ctr">
                    <a:solidFill>
                      <a:srgbClr val="C59EE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000000"/>
                          </a:solidFill>
                        </a:rPr>
                        <a:t>ООО «</a:t>
                      </a:r>
                      <a:r>
                        <a:rPr lang="ru-RU" sz="1400" b="1" dirty="0" err="1">
                          <a:solidFill>
                            <a:srgbClr val="000000"/>
                          </a:solidFill>
                        </a:rPr>
                        <a:t>ГеоНика</a:t>
                      </a:r>
                      <a:r>
                        <a:rPr lang="ru-RU" sz="1400" b="1" dirty="0">
                          <a:solidFill>
                            <a:srgbClr val="000000"/>
                          </a:solidFill>
                        </a:rPr>
                        <a:t>»</a:t>
                      </a:r>
                      <a:endParaRPr lang="ru-RU" sz="1400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solidFill>
                      <a:srgbClr val="C59E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78071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/>
                        <a:t>Ключевые характеристики компании/</a:t>
                      </a:r>
                      <a:r>
                        <a:rPr lang="ru-RU" sz="1400" b="1" baseline="0" dirty="0"/>
                        <a:t> продукта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solidFill>
                      <a:srgbClr val="EFD9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dirty="0"/>
                        <a:t>Услуги, связанные с кадастровыми, геодезическими и землеустроительными работами</a:t>
                      </a:r>
                    </a:p>
                  </a:txBody>
                  <a:tcPr marL="60532" marR="60532" marT="29614" marB="29614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/>
                        <a:t>Услуги в сфере инженерных изысканий (геодезических и геологических), проектирования и кадастровых работ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marL="60532" marR="60532" marT="29614" marB="2961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928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/>
                        <a:t>Цель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solidFill>
                      <a:srgbClr val="EFD9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dirty="0"/>
                        <a:t>Сбор, систематизация и оформление данных об объектах недвижимости для их официальной регистрации в государственных органах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marL="60532" marR="60532" marT="29614" marB="2961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</a:rPr>
                        <a:t>Топографическая и исполнительная съёмка, бурение скважин для геологических изысканий, проектирование различных систем и зданий, а также межевание и кадастровые работы</a:t>
                      </a:r>
                    </a:p>
                  </a:txBody>
                  <a:tcPr marL="60532" marR="60532" marT="29614" marB="2961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0091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/>
                        <a:t>Вид деятельности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solidFill>
                      <a:srgbClr val="EFD9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/>
                        <a:t>Кадастровые работы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/>
                        <a:t>Подготовка документации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/>
                        <a:t>Межевание земельных участков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/>
                        <a:t>Геодезические работы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marL="60532" marR="60532" marT="29614" marB="29614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+mj-lt"/>
                        </a:rPr>
                        <a:t>Инженерно-геодезические изыск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+mj-lt"/>
                        </a:rPr>
                        <a:t>Инженерно-геологические изыск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+mj-lt"/>
                        </a:rPr>
                        <a:t>Проектирование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+mj-lt"/>
                        </a:rPr>
                        <a:t>Кадастровые и землеустроительные работы</a:t>
                      </a:r>
                    </a:p>
                  </a:txBody>
                  <a:tcPr marL="60532" marR="60532" marT="29614" marB="2961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8216023" y="1079399"/>
            <a:ext cx="3390899" cy="5417793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t">
            <a:noAutofit/>
          </a:bodyPr>
          <a:lstStyle/>
          <a:p>
            <a:pPr algn="ctr">
              <a:spcAft>
                <a:spcPts val="855"/>
              </a:spcAft>
            </a:pPr>
            <a:r>
              <a:rPr lang="ru-RU" sz="2400" b="1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Посреднический характер между различными компаниями 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Работа с различными формами компаний, организаций и самоуправлениями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Упрощенный процесс документооборота, так как имеется одна большая база данных посредством передачи информации ЖК-компаниями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Вовлечение помимо строительных, благоустраивающих и жилищно-коммунальных компаний территориальные общественные самоуправления и товарищества собственников жилья</a:t>
            </a:r>
          </a:p>
          <a:p>
            <a:pPr>
              <a:spcAft>
                <a:spcPts val="430"/>
              </a:spcAf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/>
              <a:ea typeface="Helvetica Neue" charset="0"/>
              <a:cs typeface="Helvetica Neue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076" y="37061"/>
            <a:ext cx="1861924" cy="67330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278609" y="146373"/>
            <a:ext cx="40559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Финансовый анализ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524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186996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5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076" y="40555"/>
            <a:ext cx="1861924" cy="673300"/>
          </a:xfrm>
          <a:prstGeom prst="rect">
            <a:avLst/>
          </a:prstGeom>
        </p:spPr>
      </p:pic>
      <p:graphicFrame>
        <p:nvGraphicFramePr>
          <p:cNvPr id="14" name="Диаграмма 13"/>
          <p:cNvGraphicFramePr/>
          <p:nvPr/>
        </p:nvGraphicFramePr>
        <p:xfrm>
          <a:off x="233464" y="946963"/>
          <a:ext cx="6682902" cy="5424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6916366" y="1353231"/>
          <a:ext cx="5068111" cy="2323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5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81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6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80956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Прогноз дохода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Прогноз расходо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Прибыль/Убыто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0956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-47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47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-12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0956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2026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>
                          <a:effectLst/>
                        </a:rPr>
                        <a:t>100000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20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10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0956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202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>
                          <a:effectLst/>
                        </a:rPr>
                        <a:t>700000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30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600" b="1" u="none" strike="noStrike" dirty="0">
                          <a:effectLst/>
                        </a:rPr>
                        <a:t>7000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7343976" y="4072258"/>
            <a:ext cx="451404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Начальный бюджет, затрачиваемый на проек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1" dirty="0"/>
              <a:t>350 000 рублей </a:t>
            </a:r>
            <a:r>
              <a:rPr lang="ru-RU" sz="2000" dirty="0"/>
              <a:t>– составление социального контракта с «</a:t>
            </a:r>
            <a:r>
              <a:rPr lang="ru-RU" sz="2000" dirty="0" err="1"/>
              <a:t>КонтурЭльба</a:t>
            </a:r>
            <a:r>
              <a:rPr lang="ru-RU" sz="2000" dirty="0"/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1" dirty="0"/>
              <a:t>120 000 рублей </a:t>
            </a:r>
            <a:r>
              <a:rPr lang="ru-RU" sz="2000" dirty="0"/>
              <a:t>– сумма, с которой участники команды готовы вложиться в проект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16"/>
          <a:stretch>
            <a:fillRect/>
          </a:stretch>
        </p:blipFill>
        <p:spPr>
          <a:xfrm>
            <a:off x="7250084" y="4546147"/>
            <a:ext cx="2497031" cy="2311854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1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1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4156238" y="129643"/>
            <a:ext cx="38795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лан по расходам и доходу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076" y="81117"/>
            <a:ext cx="1861924" cy="67330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040287"/>
              </p:ext>
            </p:extLst>
          </p:nvPr>
        </p:nvGraphicFramePr>
        <p:xfrm>
          <a:off x="740283" y="941637"/>
          <a:ext cx="4765573" cy="48532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8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68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Статья расходо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Сумма за месяц (руб.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Программисты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21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Служба поддержк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10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Технолог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10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>
                          <a:effectLst/>
                        </a:rPr>
                        <a:t>Системный администратор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Геодезисты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16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Пиар и маркетинг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3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Оборудование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7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Аренда офисов и помещений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Зарплата управленческого аппарат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563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Госпошлины и налог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58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953328" y="1063338"/>
          <a:ext cx="5350212" cy="34191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77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84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9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809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Компания-партнер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Ожидаемый доход (%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Доход (руб.) в месяц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09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УК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>
                          <a:effectLst/>
                        </a:rPr>
                        <a:t>5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5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6189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Строительные компани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1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>
                          <a:effectLst/>
                        </a:rPr>
                        <a:t>10000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6189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Благоустраивающие компани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>
                          <a:effectLst/>
                        </a:rPr>
                        <a:t>7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>
                          <a:effectLst/>
                        </a:rPr>
                        <a:t>7000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4282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Жилищно-коммунальные организации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6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6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8095">
                <a:tc gridSpan="2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1" u="none" strike="noStrike" dirty="0">
                          <a:effectLst/>
                        </a:rPr>
                        <a:t>Итого доходо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1800" b="0" u="none" strike="noStrike" dirty="0">
                          <a:effectLst/>
                        </a:rPr>
                        <a:t>28000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1524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196" y="1692615"/>
            <a:ext cx="3716055" cy="3716055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1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1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3816818" y="186934"/>
            <a:ext cx="45583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ланируемый штат сотрудников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524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0868" y="81117"/>
            <a:ext cx="1861924" cy="673300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549086"/>
              </p:ext>
            </p:extLst>
          </p:nvPr>
        </p:nvGraphicFramePr>
        <p:xfrm>
          <a:off x="1616676" y="1162349"/>
          <a:ext cx="5815518" cy="46641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46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9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06560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1" u="none" strike="noStrike" dirty="0">
                          <a:effectLst/>
                        </a:rPr>
                        <a:t>Должность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1" u="none" strike="noStrike" dirty="0">
                          <a:effectLst/>
                        </a:rPr>
                        <a:t>Количество сотрудников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1" u="none" strike="noStrike" dirty="0">
                          <a:effectLst/>
                        </a:rPr>
                        <a:t>Зарплата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Программисты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3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Служба поддержк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>
                          <a:effectLst/>
                        </a:rPr>
                        <a:t>2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Технолог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2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Системный администратор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>
                          <a:effectLst/>
                        </a:rPr>
                        <a:t>1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4500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>
                          <a:effectLst/>
                        </a:rPr>
                        <a:t>Геодезисты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2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8000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Директор (лидер)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1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7000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Технический директор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1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u="none" strike="noStrike" dirty="0">
                          <a:effectLst/>
                        </a:rPr>
                        <a:t>6500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220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ухгалте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D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2736743" y="3113286"/>
            <a:ext cx="6718513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0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4800" spc="-44" dirty="0">
                <a:solidFill>
                  <a:srgbClr val="8F00FF"/>
                </a:solidFill>
                <a:latin typeface="Lato Black"/>
                <a:cs typeface="Lato Black"/>
              </a:rPr>
              <a:t>Спасибо за внимание!</a:t>
            </a:r>
            <a:br>
              <a:rPr lang="ru-RU" b="1" dirty="0">
                <a:solidFill>
                  <a:srgbClr val="8F00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2400" spc="-2" dirty="0">
              <a:solidFill>
                <a:srgbClr val="8F00FF"/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/>
          <p:nvPr/>
        </p:nvSpPr>
        <p:spPr>
          <a:xfrm>
            <a:off x="1342730" y="6498785"/>
            <a:ext cx="2788025" cy="35921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>
                <a:solidFill>
                  <a:srgbClr val="8F00FF"/>
                </a:solidFill>
              </a:rPr>
              <a:t>2025, Институт экономики</a:t>
            </a:r>
          </a:p>
        </p:txBody>
      </p:sp>
      <p:pic>
        <p:nvPicPr>
          <p:cNvPr id="8" name="Рисунок 7" descr="Pusheen-умниц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963" y="3249785"/>
            <a:ext cx="3810000" cy="3810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BBECB6A-F5B8-7E2F-A8D0-A58C48F86F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21474" y="136085"/>
            <a:ext cx="3779525" cy="2829888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5A35E67D-6587-C219-33BE-7E9CE5C67036}"/>
              </a:ext>
            </a:extLst>
          </p:cNvPr>
          <p:cNvCxnSpPr/>
          <p:nvPr/>
        </p:nvCxnSpPr>
        <p:spPr>
          <a:xfrm>
            <a:off x="1529295" y="6485933"/>
            <a:ext cx="8759335" cy="0"/>
          </a:xfrm>
          <a:prstGeom prst="line">
            <a:avLst/>
          </a:prstGeom>
          <a:ln>
            <a:solidFill>
              <a:srgbClr val="8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0" t="33511" r="3617" b="27741"/>
          <a:stretch>
            <a:fillRect/>
          </a:stretch>
        </p:blipFill>
        <p:spPr>
          <a:xfrm>
            <a:off x="7885182" y="5085178"/>
            <a:ext cx="4231532" cy="177158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4" t="33511" r="4487" b="27741"/>
          <a:stretch>
            <a:fillRect/>
          </a:stretch>
        </p:blipFill>
        <p:spPr>
          <a:xfrm>
            <a:off x="3998852" y="5085178"/>
            <a:ext cx="4097398" cy="177158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2843" y="233593"/>
            <a:ext cx="36263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Актуальность проект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32840" y="1610360"/>
            <a:ext cx="9888855" cy="2990215"/>
          </a:xfrm>
          <a:prstGeom prst="rect">
            <a:avLst/>
          </a:prstGeom>
          <a:noFill/>
          <a:ln w="12700"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>
            <a:noAutofit/>
          </a:bodyPr>
          <a:lstStyle/>
          <a:p>
            <a:pPr lvl="0" algn="ctr"/>
            <a:r>
              <a:rPr lang="ru-RU" sz="2800" dirty="0"/>
              <a:t>Администрация Великого Новгорода заинтересована в создании благополучной среды и повышении комфортных условий на территории города. </a:t>
            </a:r>
          </a:p>
          <a:p>
            <a:pPr lvl="0" algn="ctr"/>
            <a:r>
              <a:rPr lang="ru-RU" sz="2800" dirty="0"/>
              <a:t>Но для того, чтоб начать строительство на определенной территории, сбор документации о земле и его слоях приходится ждать от трёх и более месяцев.</a:t>
            </a:r>
          </a:p>
          <a:p>
            <a:pPr lvl="0" algn="ctr"/>
            <a:endParaRPr lang="en-US" alt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/>
            <a:endParaRPr lang="en-US" alt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0" t="33511" r="4837" b="27741"/>
          <a:stretch>
            <a:fillRect/>
          </a:stretch>
        </p:blipFill>
        <p:spPr>
          <a:xfrm>
            <a:off x="0" y="5085180"/>
            <a:ext cx="4175760" cy="177158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602" y="49867"/>
            <a:ext cx="1861924" cy="673300"/>
          </a:xfrm>
          <a:prstGeom prst="rect">
            <a:avLst/>
          </a:prstGeom>
        </p:spPr>
      </p:pic>
      <p:cxnSp>
        <p:nvCxnSpPr>
          <p:cNvPr id="2" name="Прямая соединительная линия 1"/>
          <p:cNvCxnSpPr/>
          <p:nvPr/>
        </p:nvCxnSpPr>
        <p:spPr>
          <a:xfrm>
            <a:off x="1411356" y="756813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1527996" y="5837384"/>
            <a:ext cx="9416010" cy="640404"/>
          </a:xfrm>
          <a:prstGeom prst="rect">
            <a:avLst/>
          </a:prstGeom>
          <a:solidFill>
            <a:srgbClr val="EFD9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2" y="466593"/>
            <a:ext cx="2676624" cy="267662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318927" y="103436"/>
            <a:ext cx="15541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роблема</a:t>
            </a:r>
          </a:p>
        </p:txBody>
      </p:sp>
      <p:sp>
        <p:nvSpPr>
          <p:cNvPr id="6" name="Текст 10"/>
          <p:cNvSpPr txBox="1"/>
          <p:nvPr/>
        </p:nvSpPr>
        <p:spPr>
          <a:xfrm>
            <a:off x="3632170" y="923659"/>
            <a:ext cx="4927656" cy="2021587"/>
          </a:xfrm>
          <a:prstGeom prst="rect">
            <a:avLst/>
          </a:prstGeom>
          <a:solidFill>
            <a:srgbClr val="EFD9FF"/>
          </a:solidFill>
          <a:ln>
            <a:solidFill>
              <a:schemeClr val="tx1"/>
            </a:solidFill>
          </a:ln>
        </p:spPr>
        <p:txBody>
          <a:bodyPr/>
          <a:lstStyle>
            <a:lvl1pPr marL="210185" indent="-210185" algn="l" defTabSz="840105" rtl="0" eaLnBrk="1" latinLnBrk="0" hangingPunct="1">
              <a:lnSpc>
                <a:spcPct val="90000"/>
              </a:lnSpc>
              <a:spcBef>
                <a:spcPts val="92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2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65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002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6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49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86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60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33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en-US" sz="1600" b="1" dirty="0"/>
              <a:t>В современных условиях сроки подготовки технической документации доходят до 3 месяцев, цифровизация городской среды позволит значительно их снизить и уменьшить финансовую нагрузку на бизнес</a:t>
            </a:r>
            <a:r>
              <a:rPr lang="ru-RU" sz="1600" b="1" dirty="0"/>
              <a:t>.</a:t>
            </a:r>
          </a:p>
          <a:p>
            <a:pPr marL="0" indent="0" algn="ctr">
              <a:buNone/>
            </a:pPr>
            <a:r>
              <a:rPr lang="ru-RU" sz="1600" dirty="0"/>
              <a:t>Так же на проблему влияет дефицит кадров в сфере коммунального хозяйства, строительства, вследствие чего идёт технологическая сложность реализации</a:t>
            </a:r>
            <a:r>
              <a:rPr lang="ru-RU" sz="1600" b="1" dirty="0"/>
              <a:t>.</a:t>
            </a:r>
          </a:p>
          <a:p>
            <a:pPr marL="0" indent="0" algn="ctr">
              <a:buNone/>
            </a:pPr>
            <a:endParaRPr lang="ru-RU" sz="1600" b="1" dirty="0"/>
          </a:p>
        </p:txBody>
      </p:sp>
      <p:sp>
        <p:nvSpPr>
          <p:cNvPr id="9" name="Текст 15"/>
          <p:cNvSpPr txBox="1"/>
          <p:nvPr/>
        </p:nvSpPr>
        <p:spPr>
          <a:xfrm>
            <a:off x="1527994" y="3195605"/>
            <a:ext cx="9416012" cy="202158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210185" indent="-210185" algn="l" defTabSz="840105" rtl="0" eaLnBrk="1" latinLnBrk="0" hangingPunct="1">
              <a:lnSpc>
                <a:spcPct val="90000"/>
              </a:lnSpc>
              <a:spcBef>
                <a:spcPts val="92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2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65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002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6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49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86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60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33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ru-RU" sz="1800" dirty="0"/>
              <a:t>Сфере жилищно-коммунального хозяйства не хватает порядка 150 тысяч специалистов. О кадровом дефиците в отрасли рассказал замглавы Комитета СФ по федеративному устройству, региональной политике, местному самоуправлению и делам Севера Александр </a:t>
            </a:r>
            <a:r>
              <a:rPr lang="ru-RU" sz="1800" dirty="0" err="1"/>
              <a:t>Высокинский</a:t>
            </a:r>
            <a:r>
              <a:rPr lang="ru-RU" sz="1800" dirty="0"/>
              <a:t> на совещании в Совете Федерации;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dirty="0"/>
              <a:t>В сфере строительства так же наблюдается дефицит рабочих. К июлю 2025 года ситуация с нехваткой рабочих кадров в строительстве остаётся критичной. По данным ФГБУ «ВНИИ труда» Минтруда, дефицит в отрасли составил порядка 160 тысяч человек.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 algn="ctr">
              <a:buNone/>
            </a:pPr>
            <a:r>
              <a:rPr lang="ru-RU" sz="1800" b="1" dirty="0"/>
              <a:t>Важно привлечение молодых специалистов (студентов) к данным сферам для должной реализации проекта.</a:t>
            </a:r>
          </a:p>
          <a:p>
            <a:pPr marL="0" indent="0">
              <a:buNone/>
            </a:pPr>
            <a:endParaRPr lang="ru-RU" sz="1800" dirty="0"/>
          </a:p>
          <a:p>
            <a:pPr marL="342900" indent="-342900">
              <a:buFont typeface="+mj-lt"/>
              <a:buAutoNum type="arabicPeriod"/>
            </a:pPr>
            <a:endParaRPr lang="ru-RU" sz="18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076" y="0"/>
            <a:ext cx="1861924" cy="673300"/>
          </a:xfrm>
          <a:prstGeom prst="rect">
            <a:avLst/>
          </a:prstGeom>
        </p:spPr>
      </p:pic>
      <p:cxnSp>
        <p:nvCxnSpPr>
          <p:cNvPr id="15" name="Прямая со стрелкой 14"/>
          <p:cNvCxnSpPr/>
          <p:nvPr/>
        </p:nvCxnSpPr>
        <p:spPr>
          <a:xfrm>
            <a:off x="6119263" y="5332484"/>
            <a:ext cx="0" cy="4090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/>
          <p:cNvCxnSpPr/>
          <p:nvPr/>
        </p:nvCxnSpPr>
        <p:spPr>
          <a:xfrm>
            <a:off x="1387994" y="617498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9770500" y="770653"/>
            <a:ext cx="1090369" cy="59165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Кондратьева Марина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149" y="5417527"/>
            <a:ext cx="701281" cy="701281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589" y="4598635"/>
            <a:ext cx="581076" cy="581076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429017" y="640747"/>
            <a:ext cx="908654" cy="58084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Ниязов Давран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4832" y="3149223"/>
            <a:ext cx="543271" cy="5257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889384" y="717522"/>
            <a:ext cx="850364" cy="60727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Быкова Ксения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685" y="0"/>
            <a:ext cx="1861924" cy="6733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59384" y="221462"/>
            <a:ext cx="356298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Предпринимательский проект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535185" y="620244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741125" y="857221"/>
            <a:ext cx="1538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Цель проек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1327242" y="3068655"/>
            <a:ext cx="506519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917436" y="3260759"/>
            <a:ext cx="235839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Результаты проект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1376070" y="6331764"/>
            <a:ext cx="5055555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hape 208"/>
          <p:cNvSpPr/>
          <p:nvPr/>
        </p:nvSpPr>
        <p:spPr>
          <a:xfrm>
            <a:off x="1347718" y="1242097"/>
            <a:ext cx="4662549" cy="1559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dirty="0"/>
              <a:t>Создание базы данных для ООО с целью реализации проекта с использованием сквозной технологии анализа больших данных в городской среде (с дальнейшей реконструкций территории путем участия в муниципальной программе благоустройства)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Shape 208"/>
          <p:cNvSpPr/>
          <p:nvPr/>
        </p:nvSpPr>
        <p:spPr>
          <a:xfrm>
            <a:off x="1321096" y="3786499"/>
            <a:ext cx="4989126" cy="1896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marL="342900" lvl="0" indent="-342900">
              <a:buAutoNum type="arabicParenR"/>
            </a:pPr>
            <a:r>
              <a:rPr lang="ru-RU" dirty="0"/>
              <a:t>Создание схемы территории, имеющая в себе базу данных о наслоении земли, которая может быть пригодна и непригодна для благоустройства</a:t>
            </a: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AutoNum type="arabicParenR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оздание ООО, которое будет тесно работать с организациями коммунального хозяйства и строительства для дальнейшего благоустройства Великого Новгорода</a:t>
            </a:r>
            <a:endParaRPr lang="ru-RU" dirty="0"/>
          </a:p>
        </p:txBody>
      </p:sp>
      <p:sp>
        <p:nvSpPr>
          <p:cNvPr id="45" name="TextBox 44"/>
          <p:cNvSpPr txBox="1"/>
          <p:nvPr/>
        </p:nvSpPr>
        <p:spPr>
          <a:xfrm>
            <a:off x="8116964" y="221792"/>
            <a:ext cx="211963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Команда проекта</a:t>
            </a:r>
          </a:p>
        </p:txBody>
      </p:sp>
      <p:sp>
        <p:nvSpPr>
          <p:cNvPr id="48" name="Shape 275"/>
          <p:cNvSpPr/>
          <p:nvPr/>
        </p:nvSpPr>
        <p:spPr>
          <a:xfrm>
            <a:off x="8355175" y="1159761"/>
            <a:ext cx="1120507" cy="91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 algn="ctr"/>
            <a:r>
              <a:rPr lang="ru-RU" sz="1000" b="1" dirty="0">
                <a:sym typeface="Calibri" panose="020F0502020204030204"/>
              </a:rPr>
              <a:t>Лидер команды, координатор</a:t>
            </a:r>
            <a:endParaRPr sz="1285" dirty="0"/>
          </a:p>
        </p:txBody>
      </p:sp>
      <p:sp>
        <p:nvSpPr>
          <p:cNvPr id="49" name="Shape 280"/>
          <p:cNvSpPr/>
          <p:nvPr/>
        </p:nvSpPr>
        <p:spPr>
          <a:xfrm>
            <a:off x="7372142" y="1484352"/>
            <a:ext cx="1309651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1285" dirty="0"/>
          </a:p>
        </p:txBody>
      </p:sp>
      <p:sp>
        <p:nvSpPr>
          <p:cNvPr id="50" name="Shape 275"/>
          <p:cNvSpPr/>
          <p:nvPr/>
        </p:nvSpPr>
        <p:spPr>
          <a:xfrm>
            <a:off x="9961692" y="1213793"/>
            <a:ext cx="717493" cy="516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000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Дизайнер, спикер</a:t>
            </a:r>
            <a:endParaRPr lang="ru-RU" sz="1000" b="1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9228486" y="2918738"/>
            <a:ext cx="2392602" cy="310515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600" b="1" u="sng" dirty="0"/>
              <a:t>Компания-инициатор</a:t>
            </a:r>
            <a:endParaRPr lang="ru-RU" sz="160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3" name="Shape 179"/>
          <p:cNvSpPr/>
          <p:nvPr/>
        </p:nvSpPr>
        <p:spPr>
          <a:xfrm>
            <a:off x="7634711" y="4670599"/>
            <a:ext cx="2497266" cy="558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br>
              <a:rPr lang="ru-RU" sz="140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40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Сентябрь 2025-декабрь 2025</a:t>
            </a:r>
            <a:endParaRPr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7998517" y="4512277"/>
            <a:ext cx="1651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ym typeface="Calibri" panose="020F0502020204030204"/>
              </a:rPr>
              <a:t>Сроки проекта</a:t>
            </a:r>
            <a:endParaRPr lang="ru-RU" b="1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6412917" y="4525522"/>
            <a:ext cx="491586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6412915" y="620244"/>
            <a:ext cx="1" cy="609791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hape 275"/>
          <p:cNvSpPr/>
          <p:nvPr/>
        </p:nvSpPr>
        <p:spPr>
          <a:xfrm>
            <a:off x="6820008" y="1458046"/>
            <a:ext cx="814703" cy="10399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6457820" y="2936005"/>
            <a:ext cx="3138294" cy="310515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600" b="1" u="sng" dirty="0"/>
              <a:t>Компании-соисполнители</a:t>
            </a:r>
            <a:endParaRPr lang="ru-RU" sz="160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0" name="Shape 275"/>
          <p:cNvSpPr/>
          <p:nvPr/>
        </p:nvSpPr>
        <p:spPr>
          <a:xfrm>
            <a:off x="7166314" y="3231985"/>
            <a:ext cx="1967496" cy="1078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1400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ФГБОУ ВО Новгородский государственный университет им. Ярослава Мудрого</a:t>
            </a:r>
            <a:endParaRPr sz="1400" b="1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1" name="Shape 280"/>
          <p:cNvSpPr/>
          <p:nvPr/>
        </p:nvSpPr>
        <p:spPr>
          <a:xfrm>
            <a:off x="7058657" y="4201839"/>
            <a:ext cx="1058549" cy="178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endParaRPr sz="685" dirty="0"/>
          </a:p>
        </p:txBody>
      </p:sp>
      <p:sp>
        <p:nvSpPr>
          <p:cNvPr id="94" name="Shape 280"/>
          <p:cNvSpPr/>
          <p:nvPr/>
        </p:nvSpPr>
        <p:spPr>
          <a:xfrm>
            <a:off x="8787146" y="3796571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en-US" sz="560" dirty="0">
                <a:latin typeface="Calibri" panose="020F0502020204030204"/>
                <a:sym typeface="Calibri" panose="020F0502020204030204"/>
              </a:rPr>
              <a:t> </a:t>
            </a:r>
            <a:endParaRPr sz="685" dirty="0"/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257" y="3291715"/>
            <a:ext cx="617498" cy="611847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6892122" y="1215209"/>
            <a:ext cx="946011" cy="4336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директор, спикер</a:t>
            </a:r>
            <a:endParaRPr lang="ru-RU" sz="1000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 flipV="1">
            <a:off x="6412915" y="2879244"/>
            <a:ext cx="4888916" cy="31192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403" y="716441"/>
            <a:ext cx="574309" cy="574309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/>
          <p:nvPr/>
        </p:nvCxnSpPr>
        <p:spPr>
          <a:xfrm flipH="1">
            <a:off x="6424920" y="5287661"/>
            <a:ext cx="490385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6884694" y="1684696"/>
            <a:ext cx="10702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Ефимов Борис</a:t>
            </a:r>
          </a:p>
          <a:p>
            <a:pPr algn="ctr"/>
            <a:r>
              <a:rPr lang="ru-RU" sz="1000" b="1" dirty="0"/>
              <a:t>Технический специалист, разработчик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416100" y="1688682"/>
            <a:ext cx="9086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Ефимова Марина</a:t>
            </a:r>
          </a:p>
          <a:p>
            <a:pPr algn="ctr"/>
            <a:r>
              <a:rPr lang="ru-RU" sz="1000" b="1" dirty="0"/>
              <a:t>Дизайнер, разработчик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721224" y="1685527"/>
            <a:ext cx="12368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Герасимов Юрий</a:t>
            </a:r>
          </a:p>
          <a:p>
            <a:pPr algn="ctr"/>
            <a:r>
              <a:rPr lang="ru-RU" sz="1000" b="1" dirty="0"/>
              <a:t>Бизнес-аналитик, разработчик</a:t>
            </a:r>
          </a:p>
          <a:p>
            <a:pPr algn="ctr"/>
            <a:endParaRPr lang="ru-RU" sz="12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7816802" y="5304887"/>
            <a:ext cx="2133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Целевая аудитория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22879" y="5640937"/>
            <a:ext cx="362958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arenR"/>
            </a:pPr>
            <a:r>
              <a:rPr lang="ru-RU" sz="1600" dirty="0"/>
              <a:t>Работники строительных компаний</a:t>
            </a:r>
          </a:p>
          <a:p>
            <a:pPr marL="342900" indent="-342900">
              <a:buAutoNum type="arabicParenR"/>
            </a:pPr>
            <a:r>
              <a:rPr lang="ru-RU" sz="1600" dirty="0"/>
              <a:t>Работники коммунальных служб</a:t>
            </a:r>
          </a:p>
          <a:p>
            <a:pPr marL="342900" indent="-342900">
              <a:buAutoNum type="arabicParenR"/>
            </a:pPr>
            <a:r>
              <a:rPr lang="ru-RU" sz="1600" dirty="0"/>
              <a:t>УК и ЖК </a:t>
            </a:r>
          </a:p>
          <a:p>
            <a:pPr marL="342900" indent="-342900">
              <a:buAutoNum type="arabicParenR"/>
            </a:pPr>
            <a:r>
              <a:rPr lang="ru-RU" sz="1600" dirty="0"/>
              <a:t>БТ организации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 flipH="1">
            <a:off x="6431625" y="6718155"/>
            <a:ext cx="5055555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0132060" y="3291840"/>
            <a:ext cx="1747520" cy="91630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sz="1400" b="1" i="0" dirty="0">
                <a:effectLst/>
              </a:rPr>
              <a:t>Комитет </a:t>
            </a:r>
            <a:r>
              <a:rPr lang="en-US" altLang="en-US" sz="1400" b="1" dirty="0"/>
              <a:t>архитектуры и градостроительства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5803" y="3255905"/>
            <a:ext cx="676676" cy="8233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6374F68-0FA3-FA6E-AFD2-12A7F405614F}"/>
              </a:ext>
            </a:extLst>
          </p:cNvPr>
          <p:cNvSpPr txBox="1"/>
          <p:nvPr/>
        </p:nvSpPr>
        <p:spPr>
          <a:xfrm>
            <a:off x="8411240" y="2416313"/>
            <a:ext cx="9312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err="1"/>
              <a:t>Махмадов</a:t>
            </a:r>
            <a:r>
              <a:rPr lang="ru-RU" sz="1200" b="1" dirty="0"/>
              <a:t> </a:t>
            </a:r>
          </a:p>
          <a:p>
            <a:pPr algn="ctr"/>
            <a:r>
              <a:rPr lang="ru-RU" sz="1200" b="1" dirty="0" err="1"/>
              <a:t>Аминджон</a:t>
            </a:r>
            <a:endParaRPr lang="ru-RU" sz="12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339551-F7A7-0F35-FE08-C303B605512C}"/>
              </a:ext>
            </a:extLst>
          </p:cNvPr>
          <p:cNvSpPr txBox="1"/>
          <p:nvPr/>
        </p:nvSpPr>
        <p:spPr>
          <a:xfrm>
            <a:off x="9927141" y="2412873"/>
            <a:ext cx="970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err="1"/>
              <a:t>Хайназаров</a:t>
            </a:r>
            <a:endParaRPr lang="ru-RU" sz="1200" b="1" dirty="0"/>
          </a:p>
          <a:p>
            <a:pPr algn="ctr"/>
            <a:r>
              <a:rPr lang="ru-RU" sz="1200" b="1" dirty="0" err="1"/>
              <a:t>Аббосджон</a:t>
            </a:r>
            <a:endParaRPr lang="ru-RU" sz="1200" b="1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49303" y="186904"/>
            <a:ext cx="53785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Описание продукта и технолог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524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183358" y="938048"/>
            <a:ext cx="23657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Описание проду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3240" y="3603773"/>
            <a:ext cx="23969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Технология проект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479507" y="3996595"/>
            <a:ext cx="3519450" cy="947955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/>
              <a:t>Технологии хранения и анализа больших данных </a:t>
            </a:r>
            <a:endParaRPr lang="ru-RU" sz="1285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02155" y="1335405"/>
            <a:ext cx="8665845" cy="2080260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>
                <a:solidFill>
                  <a:schemeClr val="tx1"/>
                </a:solidFill>
              </a:rPr>
              <a:t>База данных для ООО «Умный город» для дальнейшего облагораживания и обустройства территории.</a:t>
            </a:r>
          </a:p>
          <a:p>
            <a:pPr algn="ctr"/>
            <a:endParaRPr lang="ru-RU" sz="2000" dirty="0">
              <a:solidFill>
                <a:schemeClr val="tx1"/>
              </a:solidFill>
            </a:endParaRPr>
          </a:p>
          <a:p>
            <a:pPr algn="ctr"/>
            <a:r>
              <a:rPr lang="ru-RU" sz="2000" dirty="0">
                <a:solidFill>
                  <a:schemeClr val="tx1"/>
                </a:solidFill>
              </a:rPr>
              <a:t>Цифровой вид помогает выбрать определенную территорию с данными о проведенных коммуникациях на выделенном участке, что уменьшает бюрократическую нагрузку на строительные организации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76800" y="4191856"/>
            <a:ext cx="33083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/>
              <a:t>Технологии хранения и анализа больших данных </a:t>
            </a:r>
            <a:endParaRPr lang="lv-LV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076" y="0"/>
            <a:ext cx="1861924" cy="6733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0" t="33511" r="3617" b="27741"/>
          <a:stretch>
            <a:fillRect/>
          </a:stretch>
        </p:blipFill>
        <p:spPr>
          <a:xfrm>
            <a:off x="7885182" y="5085178"/>
            <a:ext cx="4231532" cy="177158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4" t="33511" r="4487" b="27741"/>
          <a:stretch>
            <a:fillRect/>
          </a:stretch>
        </p:blipFill>
        <p:spPr>
          <a:xfrm>
            <a:off x="3998852" y="5085178"/>
            <a:ext cx="4097398" cy="177158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0" t="33511" r="4837" b="27741"/>
          <a:stretch>
            <a:fillRect/>
          </a:stretch>
        </p:blipFill>
        <p:spPr>
          <a:xfrm>
            <a:off x="0" y="5086419"/>
            <a:ext cx="4175760" cy="1771581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561" y="11659"/>
            <a:ext cx="1861924" cy="69135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1" t="6291" r="17879" b="11674"/>
          <a:stretch>
            <a:fillRect/>
          </a:stretch>
        </p:blipFill>
        <p:spPr>
          <a:xfrm>
            <a:off x="5173596" y="2625288"/>
            <a:ext cx="4391436" cy="4084977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745" y="785034"/>
            <a:ext cx="3581917" cy="2643966"/>
          </a:xfrm>
          <a:prstGeom prst="rect">
            <a:avLst/>
          </a:prstGeom>
        </p:spPr>
      </p:pic>
      <p:pic>
        <p:nvPicPr>
          <p:cNvPr id="30" name="Рисунок 29" descr="Изображение выглядит как дерево, растение, хвойное дерево&#10;&#10;Автоматически созданное описание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lasticWrap/>
                    </a14:imgEffect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5282" y="621137"/>
            <a:ext cx="2024743" cy="2807863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252" y="2206202"/>
            <a:ext cx="932410" cy="1123403"/>
          </a:xfrm>
          <a:prstGeom prst="rect">
            <a:avLst/>
          </a:prstGeom>
        </p:spPr>
      </p:pic>
      <p:cxnSp>
        <p:nvCxnSpPr>
          <p:cNvPr id="2" name="Прямая соединительная линия 1"/>
          <p:cNvCxnSpPr/>
          <p:nvPr/>
        </p:nvCxnSpPr>
        <p:spPr>
          <a:xfrm>
            <a:off x="5033558" y="4036799"/>
            <a:ext cx="97839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4869365" y="3865164"/>
            <a:ext cx="164193" cy="17163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731162" y="3470955"/>
            <a:ext cx="2263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ЛИНИИ СВЯЗИ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253996" y="5677731"/>
            <a:ext cx="90893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 flipH="1">
            <a:off x="9140315" y="5485422"/>
            <a:ext cx="299759" cy="19373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036749" y="3733102"/>
            <a:ext cx="2661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ЭЛЕКТРИЧЕСКИЕ СЕТИ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86936" y="4226052"/>
            <a:ext cx="129012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10141963" y="4096597"/>
            <a:ext cx="206571" cy="1242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548487" y="4667776"/>
            <a:ext cx="28059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ГАЗОВОЕ ОБСЛУЖИВАНИЕ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5328833" y="5239398"/>
            <a:ext cx="111549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 flipV="1">
            <a:off x="5167482" y="5067074"/>
            <a:ext cx="182664" cy="17232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482302" y="5106642"/>
            <a:ext cx="37096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ВОДОСНАБЖЕНИЕ, КАНАЛИЗАЦИЯ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9315169" y="3216916"/>
            <a:ext cx="106191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10367922" y="3036246"/>
            <a:ext cx="299759" cy="19373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9476683" y="2685803"/>
            <a:ext cx="18619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БАЗОВЫЙ ГРУНТ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90728" y="3748691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0,3 – 0,5 м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07821" y="4253048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0,5 – 1,5 м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26804" y="4946685"/>
            <a:ext cx="1023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1,5 – 2 м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801769" y="5534594"/>
            <a:ext cx="654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,5 – 2 м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064988" y="3278245"/>
            <a:ext cx="224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оверхностный слой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8055" y="1315212"/>
            <a:ext cx="2780385" cy="3122502"/>
          </a:xfrm>
          <a:prstGeom prst="rect">
            <a:avLst/>
          </a:prstGeom>
        </p:spPr>
      </p:pic>
      <p:cxnSp>
        <p:nvCxnSpPr>
          <p:cNvPr id="45" name="Соединитель: уступ 44"/>
          <p:cNvCxnSpPr/>
          <p:nvPr/>
        </p:nvCxnSpPr>
        <p:spPr>
          <a:xfrm>
            <a:off x="1986639" y="4667776"/>
            <a:ext cx="3746613" cy="1456160"/>
          </a:xfrm>
          <a:prstGeom prst="bentConnector3">
            <a:avLst>
              <a:gd name="adj1" fmla="val -337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804518" y="126505"/>
            <a:ext cx="32796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рототип базы данных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1636644" y="693003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7C74D8-4003-0A90-1D02-B45114060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F003E4-CE70-EE97-98A3-AE58797D50A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6BBDF02-6A55-4DA6-8C5D-9C15B67206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561" y="11659"/>
            <a:ext cx="1861924" cy="69135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C6AC7AA-063A-8B89-C00D-3C8EBC6F1C55}"/>
              </a:ext>
            </a:extLst>
          </p:cNvPr>
          <p:cNvSpPr txBox="1"/>
          <p:nvPr/>
        </p:nvSpPr>
        <p:spPr>
          <a:xfrm>
            <a:off x="4152765" y="183265"/>
            <a:ext cx="48194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риложение (общий функционал)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17126339-A91B-BF83-990A-D438E95B4EA5}"/>
              </a:ext>
            </a:extLst>
          </p:cNvPr>
          <p:cNvCxnSpPr/>
          <p:nvPr/>
        </p:nvCxnSpPr>
        <p:spPr>
          <a:xfrm>
            <a:off x="1636644" y="693003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9F419E5-7A76-796B-E65F-005054DF4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33" y="829519"/>
            <a:ext cx="10612876" cy="566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03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8D8223F-B5CB-C10E-A8D4-922C94D49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A7EE03F-FBF5-A09D-A796-DA0AE226BFA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74D9541-CEEE-9C60-647A-7345E17298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561" y="11659"/>
            <a:ext cx="1861924" cy="69135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C36AF142-7AD3-58FD-5F96-EED3B70AC44F}"/>
              </a:ext>
            </a:extLst>
          </p:cNvPr>
          <p:cNvSpPr txBox="1"/>
          <p:nvPr/>
        </p:nvSpPr>
        <p:spPr>
          <a:xfrm>
            <a:off x="3948216" y="181886"/>
            <a:ext cx="45208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риложение (карта местности)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407900A1-70D9-8332-D0E9-F2931B74CAE4}"/>
              </a:ext>
            </a:extLst>
          </p:cNvPr>
          <p:cNvCxnSpPr/>
          <p:nvPr/>
        </p:nvCxnSpPr>
        <p:spPr>
          <a:xfrm>
            <a:off x="1636644" y="693003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CEBF8C1-9E3B-7EB4-543F-5A3ECA9835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541" y="791908"/>
            <a:ext cx="6528205" cy="5967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500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8E9D7A-5918-7C08-8C61-0D10DA2E1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762C52E1-D319-3F46-6715-89ECE66812F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5266ECC-2FA2-A0AF-A6EC-86F4CDADFB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561" y="11659"/>
            <a:ext cx="1861924" cy="69135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C26A887F-8E04-ADB5-9771-F0DE698CD61C}"/>
              </a:ext>
            </a:extLst>
          </p:cNvPr>
          <p:cNvSpPr txBox="1"/>
          <p:nvPr/>
        </p:nvSpPr>
        <p:spPr>
          <a:xfrm>
            <a:off x="3288212" y="178421"/>
            <a:ext cx="57502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риложение (панель и выгрузка данных)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20AE2870-A245-9F8D-5D4B-0EDD3EFD612D}"/>
              </a:ext>
            </a:extLst>
          </p:cNvPr>
          <p:cNvCxnSpPr/>
          <p:nvPr/>
        </p:nvCxnSpPr>
        <p:spPr>
          <a:xfrm>
            <a:off x="1636644" y="693003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73A5017-54FD-FD05-1976-2DF79C300C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010" y="776900"/>
            <a:ext cx="4406551" cy="589136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166562-F501-B5AA-4B9C-349C33E75E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386" y="798838"/>
            <a:ext cx="3395257" cy="5953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992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895</Words>
  <Application>Microsoft Office PowerPoint</Application>
  <PresentationFormat>Широкоэкранный</PresentationFormat>
  <Paragraphs>199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rial</vt:lpstr>
      <vt:lpstr>Calibri</vt:lpstr>
      <vt:lpstr>Calibri Light</vt:lpstr>
      <vt:lpstr>Gilroy-ExtraBold</vt:lpstr>
      <vt:lpstr>Gilroy-Light</vt:lpstr>
      <vt:lpstr>Lato</vt:lpstr>
      <vt:lpstr>Lato Black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 Кутлиева</dc:creator>
  <cp:lastModifiedBy>Морская Лея</cp:lastModifiedBy>
  <cp:revision>63</cp:revision>
  <dcterms:created xsi:type="dcterms:W3CDTF">2022-11-14T13:04:00Z</dcterms:created>
  <dcterms:modified xsi:type="dcterms:W3CDTF">2025-11-30T18:0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41C4A682B2F44EA9D1C711EA4568AAE_12</vt:lpwstr>
  </property>
  <property fmtid="{D5CDD505-2E9C-101B-9397-08002B2CF9AE}" pid="3" name="KSOProductBuildVer">
    <vt:lpwstr>1033-12.2.0.21546</vt:lpwstr>
  </property>
</Properties>
</file>